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EEDF0-FDAF-83BC-0FF7-7B7584775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F5F705-360C-3DEB-79C7-57A76B901F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5F705-360C-3DEB-79C7-57A76B90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9AE21-125D-10EF-3962-8070D9DC9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6013F19-91AF-AF69-0745-769650F33DB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0A6EE622-ED96-7B3D-9709-173E7D057089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AE9BE5A8-1CEF-5A39-B884-6515CE796A4E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103A1977-1F80-1BE3-E363-900164A65A78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740D2340-14E6-8380-589A-25CDE03198B3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9B8396D2-B60B-EAE2-642C-88F7916BD9C0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9E034F-4B8E-8036-2B4C-D39E47C49F71}"/>
              </a:ext>
            </a:extLst>
          </p:cNvPr>
          <p:cNvSpPr txBox="1">
            <a:spLocks/>
          </p:cNvSpPr>
          <p:nvPr/>
        </p:nvSpPr>
        <p:spPr bwMode="auto">
          <a:xfrm>
            <a:off x="3237030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CC85143D-448D-B0B4-71C4-53DF52A8AB6F}"/>
              </a:ext>
            </a:extLst>
          </p:cNvPr>
          <p:cNvSpPr txBox="1">
            <a:spLocks/>
          </p:cNvSpPr>
          <p:nvPr/>
        </p:nvSpPr>
        <p:spPr bwMode="auto">
          <a:xfrm>
            <a:off x="5383619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BCD5507E-D0B4-356E-AD4B-FB3FBC9DC0ED}"/>
              </a:ext>
            </a:extLst>
          </p:cNvPr>
          <p:cNvSpPr txBox="1">
            <a:spLocks/>
          </p:cNvSpPr>
          <p:nvPr/>
        </p:nvSpPr>
        <p:spPr bwMode="auto">
          <a:xfrm>
            <a:off x="7527718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520602FA-B3ED-2A24-72E8-8E10106E543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7F1D7546-8662-81AE-579A-C70964F32AAE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46C1F0DC-003F-6550-2F94-8F510F9981C0}"/>
              </a:ext>
            </a:extLst>
          </p:cNvPr>
          <p:cNvSpPr txBox="1">
            <a:spLocks/>
          </p:cNvSpPr>
          <p:nvPr/>
        </p:nvSpPr>
        <p:spPr bwMode="auto">
          <a:xfrm>
            <a:off x="3237030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CFA186D6-1F2E-1B05-DB77-A890B341304A}"/>
              </a:ext>
            </a:extLst>
          </p:cNvPr>
          <p:cNvSpPr txBox="1">
            <a:spLocks/>
          </p:cNvSpPr>
          <p:nvPr/>
        </p:nvSpPr>
        <p:spPr bwMode="auto">
          <a:xfrm>
            <a:off x="5383619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5EDB7D57-C606-8452-391B-A7A4E2B2705B}"/>
              </a:ext>
            </a:extLst>
          </p:cNvPr>
          <p:cNvSpPr txBox="1">
            <a:spLocks/>
          </p:cNvSpPr>
          <p:nvPr/>
        </p:nvSpPr>
        <p:spPr bwMode="auto">
          <a:xfrm>
            <a:off x="7527718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6B8AD6B8-295C-3F87-4D19-483D3E86CD25}"/>
              </a:ext>
            </a:extLst>
          </p:cNvPr>
          <p:cNvSpPr txBox="1">
            <a:spLocks/>
          </p:cNvSpPr>
          <p:nvPr/>
        </p:nvSpPr>
        <p:spPr bwMode="auto">
          <a:xfrm>
            <a:off x="9671815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EF346F65-E53A-1E32-05AC-14B0F5C23E0E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ECC0162F-5F59-B59A-380B-A9C3DB8BC211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8EE88001-0BA6-FB53-80F4-F28E2EA19279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FE899772-CF8E-59D7-01A8-DD86D88E8E8C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9AC50943-89B5-3C06-A0C5-0EE91B14B629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48F771EE-E9B0-E8DB-7460-F44DAB196CD5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CD95BC03-F2FF-82F4-A3DC-E066115AD489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D1BA5ECB-AFEE-90F1-355D-89C65A1DB3ED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30EE026B-0E08-0B18-FA9A-3435DC686C2C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BCBF644B-E0E1-3D8B-DFE0-F3ED815C23C1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9" name="Google Shape;1183;g6b2a921a3a_2_763">
            <a:extLst>
              <a:ext uri="{FF2B5EF4-FFF2-40B4-BE49-F238E27FC236}">
                <a16:creationId xmlns:a16="http://schemas.microsoft.com/office/drawing/2014/main" id="{8CA03723-858A-0283-8397-1AFDDC45D4C8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30" name="Content Placeholder 2~16">
            <a:extLst>
              <a:ext uri="{FF2B5EF4-FFF2-40B4-BE49-F238E27FC236}">
                <a16:creationId xmlns:a16="http://schemas.microsoft.com/office/drawing/2014/main" id="{9D928092-EFCF-2A64-5E07-0569802EE85C}"/>
              </a:ext>
            </a:extLst>
          </p:cNvPr>
          <p:cNvSpPr txBox="1">
            <a:spLocks/>
          </p:cNvSpPr>
          <p:nvPr/>
        </p:nvSpPr>
        <p:spPr bwMode="auto">
          <a:xfrm>
            <a:off x="3237030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1" name="Content Placeholder 2~17">
            <a:extLst>
              <a:ext uri="{FF2B5EF4-FFF2-40B4-BE49-F238E27FC236}">
                <a16:creationId xmlns:a16="http://schemas.microsoft.com/office/drawing/2014/main" id="{6609CA2C-4AA3-D198-BBD8-F14FF22B7A16}"/>
              </a:ext>
            </a:extLst>
          </p:cNvPr>
          <p:cNvSpPr txBox="1">
            <a:spLocks/>
          </p:cNvSpPr>
          <p:nvPr/>
        </p:nvSpPr>
        <p:spPr bwMode="auto">
          <a:xfrm>
            <a:off x="5383619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2" name="Content Placeholder 2~18">
            <a:extLst>
              <a:ext uri="{FF2B5EF4-FFF2-40B4-BE49-F238E27FC236}">
                <a16:creationId xmlns:a16="http://schemas.microsoft.com/office/drawing/2014/main" id="{D72179B6-59A8-2E45-B740-F5FDCCCE4F8E}"/>
              </a:ext>
            </a:extLst>
          </p:cNvPr>
          <p:cNvSpPr txBox="1">
            <a:spLocks/>
          </p:cNvSpPr>
          <p:nvPr/>
        </p:nvSpPr>
        <p:spPr bwMode="auto">
          <a:xfrm>
            <a:off x="7527718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3" name="Content Placeholder 2~19">
            <a:extLst>
              <a:ext uri="{FF2B5EF4-FFF2-40B4-BE49-F238E27FC236}">
                <a16:creationId xmlns:a16="http://schemas.microsoft.com/office/drawing/2014/main" id="{1CAE19B9-8658-7EC1-FEC7-62E064606700}"/>
              </a:ext>
            </a:extLst>
          </p:cNvPr>
          <p:cNvSpPr txBox="1">
            <a:spLocks/>
          </p:cNvSpPr>
          <p:nvPr/>
        </p:nvSpPr>
        <p:spPr bwMode="auto">
          <a:xfrm>
            <a:off x="9671815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B01D59B3-F2A4-017F-8239-C1495C2D5943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C1CE852A-7BEA-A23F-967C-9EE2BEE38FFF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E0D1DAC7-0CB1-2132-0729-3C0D53187BB0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60883CF8-7350-0871-B969-4B95B7DF18A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6ACA1876-3DBB-5471-5DE8-372CF57F8421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846B6BF3-67F5-67FD-B6BA-6427C1C63804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9F7B2FBF-9F8E-59DD-CBB5-2050D67E6D36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310C68A2-DEC5-D718-E87E-014165E5515C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5C42A3C4-9D78-814C-28B5-02EB13EE2FC5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482409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72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80</cp:revision>
  <dcterms:created xsi:type="dcterms:W3CDTF">2021-03-31T02:49:57Z</dcterms:created>
  <dcterms:modified xsi:type="dcterms:W3CDTF">2025-10-16T10:41:25Z</dcterms:modified>
  <cp:category/>
</cp:coreProperties>
</file>